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1" r:id="rId1"/>
  </p:sldMasterIdLst>
  <p:notesMasterIdLst>
    <p:notesMasterId r:id="rId16"/>
  </p:notesMasterIdLst>
  <p:sldIdLst>
    <p:sldId id="256" r:id="rId2"/>
    <p:sldId id="289" r:id="rId3"/>
    <p:sldId id="258" r:id="rId4"/>
    <p:sldId id="276" r:id="rId5"/>
    <p:sldId id="286" r:id="rId6"/>
    <p:sldId id="275" r:id="rId7"/>
    <p:sldId id="290" r:id="rId8"/>
    <p:sldId id="268" r:id="rId9"/>
    <p:sldId id="287" r:id="rId10"/>
    <p:sldId id="291" r:id="rId11"/>
    <p:sldId id="292" r:id="rId12"/>
    <p:sldId id="293" r:id="rId13"/>
    <p:sldId id="282" r:id="rId14"/>
    <p:sldId id="283" r:id="rId15"/>
  </p:sldIdLst>
  <p:sldSz cx="9144000" cy="6858000" type="screen4x3"/>
  <p:notesSz cx="6797675" cy="9928225"/>
  <p:defaultTextStyle>
    <a:defPPr>
      <a:defRPr lang="el-G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.perdikis" initials="d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100" d="100"/>
          <a:sy n="100" d="100"/>
        </p:scale>
        <p:origin x="-1860" y="-2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615DEF0-5735-4632-BEA7-14ED21ADEBAC}" type="datetimeFigureOut">
              <a:rPr lang="el-GR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noProof="0" smtClean="0"/>
              <a:t>Κάντε κλικ για να επεξεργαστείτε τα στυλ κειμένου του υποδείγματος</a:t>
            </a:r>
          </a:p>
          <a:p>
            <a:pPr lvl="1"/>
            <a:r>
              <a:rPr lang="el-GR" noProof="0" smtClean="0"/>
              <a:t>Δεύτερου επιπέδου</a:t>
            </a:r>
          </a:p>
          <a:p>
            <a:pPr lvl="2"/>
            <a:r>
              <a:rPr lang="el-GR" noProof="0" smtClean="0"/>
              <a:t>Τρίτου επιπέδου</a:t>
            </a:r>
          </a:p>
          <a:p>
            <a:pPr lvl="3"/>
            <a:r>
              <a:rPr lang="el-GR" noProof="0" smtClean="0"/>
              <a:t>Τέταρτου επιπέδου</a:t>
            </a:r>
          </a:p>
          <a:p>
            <a:pPr lvl="4"/>
            <a:r>
              <a:rPr lang="el-GR" noProof="0" smtClean="0"/>
              <a:t>Πέμπτου επιπέδου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B92A05C-8792-439F-B453-3EAB8D63798D}" type="slidenum">
              <a:rPr lang="el-GR"/>
              <a:pPr>
                <a:defRPr/>
              </a:pPr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22 - Ορθογώνιο"/>
          <p:cNvSpPr/>
          <p:nvPr/>
        </p:nvSpPr>
        <p:spPr>
          <a:xfrm flipV="1">
            <a:off x="5410182" y="3810000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4" name="23 - Ορθογώνιο"/>
          <p:cNvSpPr/>
          <p:nvPr/>
        </p:nvSpPr>
        <p:spPr>
          <a:xfrm flipV="1">
            <a:off x="5410200" y="3897010"/>
            <a:ext cx="3733801" cy="192024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5" name="24 - Ορθογώνιο"/>
          <p:cNvSpPr/>
          <p:nvPr/>
        </p:nvSpPr>
        <p:spPr>
          <a:xfrm flipV="1">
            <a:off x="5410200" y="4115167"/>
            <a:ext cx="3733801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6" name="25 - Ορθογώνιο"/>
          <p:cNvSpPr/>
          <p:nvPr/>
        </p:nvSpPr>
        <p:spPr>
          <a:xfrm flipV="1">
            <a:off x="5410200" y="4164403"/>
            <a:ext cx="1965960" cy="1828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7" name="26 - Ορθογώνιο"/>
          <p:cNvSpPr/>
          <p:nvPr/>
        </p:nvSpPr>
        <p:spPr>
          <a:xfrm flipV="1">
            <a:off x="5410200" y="4199572"/>
            <a:ext cx="1965960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0" name="29 - Στρογγυλεμένο ορθογώνιο"/>
          <p:cNvSpPr/>
          <p:nvPr/>
        </p:nvSpPr>
        <p:spPr bwMode="white">
          <a:xfrm>
            <a:off x="5410200" y="3962400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1" name="30 - Στρογγυλεμένο ορθογώνιο"/>
          <p:cNvSpPr/>
          <p:nvPr/>
        </p:nvSpPr>
        <p:spPr bwMode="white">
          <a:xfrm>
            <a:off x="7376507" y="406098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7" name="6 - Ορθογώνιο"/>
          <p:cNvSpPr/>
          <p:nvPr/>
        </p:nvSpPr>
        <p:spPr>
          <a:xfrm>
            <a:off x="1" y="3649662"/>
            <a:ext cx="9144000" cy="244170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- Ορθογώνιο"/>
          <p:cNvSpPr/>
          <p:nvPr/>
        </p:nvSpPr>
        <p:spPr>
          <a:xfrm>
            <a:off x="0" y="3675527"/>
            <a:ext cx="9144001" cy="14067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- Ορθογώνιο"/>
          <p:cNvSpPr/>
          <p:nvPr/>
        </p:nvSpPr>
        <p:spPr>
          <a:xfrm flipV="1">
            <a:off x="6414051" y="3643090"/>
            <a:ext cx="2729950" cy="2484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18 - Ορθογώνιο"/>
          <p:cNvSpPr/>
          <p:nvPr/>
        </p:nvSpPr>
        <p:spPr>
          <a:xfrm>
            <a:off x="0" y="0"/>
            <a:ext cx="9144000" cy="370170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- Τίτλος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el-GR" dirty="0" err="1" smtClean="0"/>
              <a:t>Kλικ</a:t>
            </a:r>
            <a:r>
              <a:rPr kumimoji="0" lang="el-GR" dirty="0" smtClean="0"/>
              <a:t> για επεξεργασία του τίτλου</a:t>
            </a:r>
            <a:endParaRPr kumimoji="0" lang="en-US" dirty="0"/>
          </a:p>
        </p:txBody>
      </p:sp>
      <p:sp>
        <p:nvSpPr>
          <p:cNvPr id="9" name="8 - Υπότιτλος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l-GR" smtClean="0"/>
              <a:t>Κάντε κλικ για να επεξεργαστείτε τον υπότιτλο του υποδείγματος</a:t>
            </a:r>
            <a:endParaRPr kumimoji="0" lang="en-US"/>
          </a:p>
        </p:txBody>
      </p:sp>
      <p:sp>
        <p:nvSpPr>
          <p:cNvPr id="28" name="27 - Θέση ημερομηνίας"/>
          <p:cNvSpPr>
            <a:spLocks noGrp="1"/>
          </p:cNvSpPr>
          <p:nvPr>
            <p:ph type="dt" sz="half" idx="10"/>
          </p:nvPr>
        </p:nvSpPr>
        <p:spPr>
          <a:xfrm>
            <a:off x="6705600" y="4206240"/>
            <a:ext cx="960120" cy="457200"/>
          </a:xfrm>
        </p:spPr>
        <p:txBody>
          <a:bodyPr/>
          <a:lstStyle/>
          <a:p>
            <a:pPr>
              <a:defRPr/>
            </a:pPr>
            <a:fld id="{9BBFE80B-0C86-4A72-B4E5-A3774D62BE36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17" name="16 - Θέση υποσέλιδου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29" name="28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8320088" y="1136"/>
            <a:ext cx="747712" cy="36576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812F4A6-3899-4DD5-9577-EF304E7AA3F6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DC92EA3-3A8C-46E6-8B5C-A19AD4CEC97B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DD4AF9-831F-49BD-8C5B-4664042F71BA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4D44210-0DCB-4619-BDE9-6EFC369C1415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14B196-2A4F-4947-B4D1-D47ED27B2C2E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BE86AEC-977F-483D-A571-9BBEFF5B0D62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82341D-990B-43A0-8A7D-6B8CF3242AF9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el-GR" dirty="0" err="1" smtClean="0"/>
              <a:t>Kλικ</a:t>
            </a:r>
            <a:r>
              <a:rPr kumimoji="0" lang="el-GR" dirty="0" smtClean="0"/>
              <a:t> για επεξεργασία του τίτλου</a:t>
            </a:r>
            <a:endParaRPr kumimoji="0" lang="en-US" dirty="0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E6CCF97-9F40-4F5D-86B4-A434161A915E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107AC9-67B7-4977-AAB5-9170B7253B80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72FE83C-37E2-45E9-8FF7-75D16A5700CE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2844BFB-6C97-4F22-8C00-A4F19D6076DF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</p:txBody>
      </p:sp>
      <p:sp>
        <p:nvSpPr>
          <p:cNvPr id="5" name="4 - Θέση περιεχομένου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26" name="25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>
              <a:defRPr/>
            </a:pPr>
            <a:fld id="{B1E38474-BDB1-475C-BF57-5058E291C352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27" name="26 - Θέση αριθμού διαφάνειας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pPr>
              <a:defRPr/>
            </a:pPr>
            <a:fld id="{B339AF91-DFF5-4EDD-AD72-2C5C64E9E991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  <p:sp>
        <p:nvSpPr>
          <p:cNvPr id="28" name="27 - Θέση υποσέλιδου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>
              <a:defRPr/>
            </a:pPr>
            <a:endParaRPr lang="el-G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half" idx="10"/>
          </p:nvPr>
        </p:nvSpPr>
        <p:spPr>
          <a:xfrm>
            <a:off x="6583680" y="612648"/>
            <a:ext cx="957264" cy="457200"/>
          </a:xfrm>
        </p:spPr>
        <p:txBody>
          <a:bodyPr/>
          <a:lstStyle/>
          <a:p>
            <a:pPr>
              <a:defRPr/>
            </a:pPr>
            <a:fld id="{D7A0B740-EF0A-4191-BB9E-3AF49639216C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11"/>
          </p:nvPr>
        </p:nvSpPr>
        <p:spPr>
          <a:xfrm>
            <a:off x="5257800" y="612648"/>
            <a:ext cx="1325880" cy="457200"/>
          </a:xfrm>
        </p:spPr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pPr>
              <a:defRPr/>
            </a:pPr>
            <a:fld id="{9916EECF-F342-43AA-A694-AB2592C65F70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75EEB6-A73D-4DAF-B011-CF22FC441DBF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3" name="2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lang="el-GR" smtClean="0"/>
              <a:t>Δεύτερου επιπέδου</a:t>
            </a:r>
          </a:p>
          <a:p>
            <a:pPr lvl="2" eaLnBrk="1" latinLnBrk="0" hangingPunct="1"/>
            <a:r>
              <a:rPr lang="el-GR" smtClean="0"/>
              <a:t>Τρίτου επιπέδου</a:t>
            </a:r>
          </a:p>
          <a:p>
            <a:pPr lvl="3" eaLnBrk="1" latinLnBrk="0" hangingPunct="1"/>
            <a:r>
              <a:rPr lang="el-GR" smtClean="0"/>
              <a:t>Τέταρτου επιπέδου</a:t>
            </a:r>
          </a:p>
          <a:p>
            <a:pPr lvl="4" eaLnBrk="1" latinLnBrk="0" hangingPunct="1"/>
            <a:r>
              <a:rPr lang="el-GR" smtClean="0"/>
              <a:t>Πέμπτου επιπέδου</a:t>
            </a:r>
            <a:endParaRPr kumimoji="0" lang="en-US"/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2E39DF-6AE7-48A6-A7FE-F2521338572C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A2F0A2-3240-4B88-BB51-97476F65F835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l-GR" smtClean="0"/>
              <a:t>Κάντε κλικ στο εικονίδιο για να προσθέσετε μια εικόνα</a:t>
            </a:r>
            <a:endParaRPr kumimoji="0" lang="en-US" dirty="0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</p:txBody>
      </p:sp>
      <p:sp>
        <p:nvSpPr>
          <p:cNvPr id="5" name="4 - Θέση ημερομηνίας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61FA126-D981-4051-88F2-F3E80CF98053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l-GR"/>
          </a:p>
        </p:txBody>
      </p:sp>
      <p:sp>
        <p:nvSpPr>
          <p:cNvPr id="7" name="6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2B307B-0A7A-4CDE-90B6-08C961D4983A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- Ορθογώνιο"/>
          <p:cNvSpPr/>
          <p:nvPr/>
        </p:nvSpPr>
        <p:spPr>
          <a:xfrm>
            <a:off x="1" y="366818"/>
            <a:ext cx="9144000" cy="844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9" name="28 - Ορθογώνιο"/>
          <p:cNvSpPr/>
          <p:nvPr/>
        </p:nvSpPr>
        <p:spPr>
          <a:xfrm>
            <a:off x="0" y="-1"/>
            <a:ext cx="9144000" cy="310663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0" name="29 - Ορθογώνιο"/>
          <p:cNvSpPr/>
          <p:nvPr/>
        </p:nvSpPr>
        <p:spPr>
          <a:xfrm>
            <a:off x="0" y="308276"/>
            <a:ext cx="9144001" cy="9144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1" name="30 - Ορθογώνιο"/>
          <p:cNvSpPr/>
          <p:nvPr/>
        </p:nvSpPr>
        <p:spPr>
          <a:xfrm flipV="1">
            <a:off x="5410182" y="360246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31 - Ορθογώνιο"/>
          <p:cNvSpPr/>
          <p:nvPr/>
        </p:nvSpPr>
        <p:spPr>
          <a:xfrm flipV="1">
            <a:off x="5410200" y="440112"/>
            <a:ext cx="3733801" cy="18003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3" name="32 - Στρογγυλεμένο ορθογώνιο"/>
          <p:cNvSpPr/>
          <p:nvPr/>
        </p:nvSpPr>
        <p:spPr bwMode="white">
          <a:xfrm>
            <a:off x="5407339" y="497504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34" name="33 - Στρογγυλεμένο ορθογώνιο"/>
          <p:cNvSpPr/>
          <p:nvPr/>
        </p:nvSpPr>
        <p:spPr bwMode="white">
          <a:xfrm>
            <a:off x="7373646" y="58894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5" name="34 - Ορθογώνιο"/>
          <p:cNvSpPr/>
          <p:nvPr/>
        </p:nvSpPr>
        <p:spPr bwMode="invGray">
          <a:xfrm>
            <a:off x="9084966" y="-2001"/>
            <a:ext cx="57626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35 - Ορθογώνιο"/>
          <p:cNvSpPr/>
          <p:nvPr/>
        </p:nvSpPr>
        <p:spPr bwMode="invGray">
          <a:xfrm>
            <a:off x="9044481" y="-2001"/>
            <a:ext cx="27432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36 - Ορθογώνιο"/>
          <p:cNvSpPr/>
          <p:nvPr/>
        </p:nvSpPr>
        <p:spPr bwMode="invGray">
          <a:xfrm>
            <a:off x="9025428" y="-2001"/>
            <a:ext cx="9144" cy="621792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8" name="37 - Ορθογώνιο"/>
          <p:cNvSpPr/>
          <p:nvPr/>
        </p:nvSpPr>
        <p:spPr bwMode="invGray">
          <a:xfrm>
            <a:off x="8975423" y="-2001"/>
            <a:ext cx="27432" cy="621792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9" name="38 - Ορθογώνιο"/>
          <p:cNvSpPr/>
          <p:nvPr/>
        </p:nvSpPr>
        <p:spPr bwMode="invGray">
          <a:xfrm>
            <a:off x="8915677" y="380"/>
            <a:ext cx="54864" cy="585216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40" name="39 - Ορθογώνιο"/>
          <p:cNvSpPr/>
          <p:nvPr/>
        </p:nvSpPr>
        <p:spPr bwMode="invGray">
          <a:xfrm>
            <a:off x="8873475" y="380"/>
            <a:ext cx="9144" cy="585216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21 - Θέση τίτλου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68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l-GR" smtClean="0"/>
              <a:t>Kλικ για επεξεργασία του τίτλου</a:t>
            </a:r>
            <a:endParaRPr kumimoji="0" lang="en-US"/>
          </a:p>
        </p:txBody>
      </p:sp>
      <p:sp>
        <p:nvSpPr>
          <p:cNvPr id="13" name="12 - Θέση κειμένου"/>
          <p:cNvSpPr>
            <a:spLocks noGrp="1"/>
          </p:cNvSpPr>
          <p:nvPr>
            <p:ph type="body" idx="1"/>
          </p:nvPr>
        </p:nvSpPr>
        <p:spPr>
          <a:xfrm>
            <a:off x="457200" y="2249424"/>
            <a:ext cx="8229600" cy="432511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l-GR" smtClean="0"/>
              <a:t>Kλικ για επεξεργασία των στυλ του υποδείγματος</a:t>
            </a:r>
          </a:p>
          <a:p>
            <a:pPr lvl="1" eaLnBrk="1" latinLnBrk="0" hangingPunct="1"/>
            <a:r>
              <a:rPr kumimoji="0" lang="el-GR" smtClean="0"/>
              <a:t>Δεύτερου επιπέδου</a:t>
            </a:r>
          </a:p>
          <a:p>
            <a:pPr lvl="2" eaLnBrk="1" latinLnBrk="0" hangingPunct="1"/>
            <a:r>
              <a:rPr kumimoji="0" lang="el-GR" smtClean="0"/>
              <a:t>Τρίτου επιπέδου</a:t>
            </a:r>
          </a:p>
          <a:p>
            <a:pPr lvl="3" eaLnBrk="1" latinLnBrk="0" hangingPunct="1"/>
            <a:r>
              <a:rPr kumimoji="0" lang="el-GR" smtClean="0"/>
              <a:t>Τέταρτου επιπέδου</a:t>
            </a:r>
          </a:p>
          <a:p>
            <a:pPr lvl="4" eaLnBrk="1" latinLnBrk="0" hangingPunct="1"/>
            <a:r>
              <a:rPr kumimoji="0" lang="el-GR" smtClean="0"/>
              <a:t>Πέμπτου επιπέδου</a:t>
            </a:r>
            <a:endParaRPr kumimoji="0" lang="en-US"/>
          </a:p>
        </p:txBody>
      </p:sp>
      <p:sp>
        <p:nvSpPr>
          <p:cNvPr id="14" name="13 - Θέση ημερομηνίας"/>
          <p:cNvSpPr>
            <a:spLocks noGrp="1"/>
          </p:cNvSpPr>
          <p:nvPr>
            <p:ph type="dt" sz="half" idx="2"/>
          </p:nvPr>
        </p:nvSpPr>
        <p:spPr>
          <a:xfrm>
            <a:off x="6586536" y="612648"/>
            <a:ext cx="957264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62A5B17-FD68-4285-AE70-194A7A76FB23}" type="datetime1">
              <a:rPr lang="el-GR" smtClean="0"/>
              <a:pPr>
                <a:defRPr/>
              </a:pPr>
              <a:t>15/10/2014</a:t>
            </a:fld>
            <a:endParaRPr lang="el-GR"/>
          </a:p>
        </p:txBody>
      </p:sp>
      <p:sp>
        <p:nvSpPr>
          <p:cNvPr id="3" name="2 - Θέση υποσέλιδου"/>
          <p:cNvSpPr>
            <a:spLocks noGrp="1"/>
          </p:cNvSpPr>
          <p:nvPr>
            <p:ph type="ftr" sz="quarter" idx="3"/>
          </p:nvPr>
        </p:nvSpPr>
        <p:spPr>
          <a:xfrm>
            <a:off x="5257800" y="612648"/>
            <a:ext cx="1325880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23" name="22 - Θέση αριθμού διαφάνειας"/>
          <p:cNvSpPr>
            <a:spLocks noGrp="1"/>
          </p:cNvSpPr>
          <p:nvPr>
            <p:ph type="sldNum" sz="quarter" idx="4"/>
          </p:nvPr>
        </p:nvSpPr>
        <p:spPr>
          <a:xfrm>
            <a:off x="8174736" y="2272"/>
            <a:ext cx="762000" cy="36576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16E57B2-C37D-4C8E-A29F-95767C3DB567}" type="slidenum">
              <a:rPr lang="el-GR" smtClean="0"/>
              <a:pPr>
                <a:defRPr/>
              </a:pPr>
              <a:t>‹#›</a:t>
            </a:fld>
            <a:endParaRPr lang="el-GR"/>
          </a:p>
        </p:txBody>
      </p:sp>
      <p:pic>
        <p:nvPicPr>
          <p:cNvPr id="20" name="Picture 3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29454" y="6286520"/>
            <a:ext cx="2071702" cy="419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Arial" pitchFamily="34" charset="0"/>
          <a:ea typeface="+mn-ea"/>
          <a:cs typeface="Arial" pitchFamily="34" charset="0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Τίτλος"/>
          <p:cNvSpPr>
            <a:spLocks noGrp="1"/>
          </p:cNvSpPr>
          <p:nvPr>
            <p:ph type="ctrTitle"/>
          </p:nvPr>
        </p:nvSpPr>
        <p:spPr>
          <a:xfrm>
            <a:off x="457200" y="1714489"/>
            <a:ext cx="8458200" cy="1785950"/>
          </a:xfrm>
        </p:spPr>
        <p:txBody>
          <a:bodyPr anchor="ctr" anchorCtr="0"/>
          <a:lstStyle/>
          <a:p>
            <a:r>
              <a:rPr lang="el-GR" dirty="0" smtClean="0"/>
              <a:t>ΥΠΟΥΡΓΕΙΟ ΑΝΑΠΤΥΞΗΣ ΚΑΙ ΑΝΤΑΓΩΝΙΣΤΙΚΟΤΗΤΑΣ</a:t>
            </a:r>
            <a:endParaRPr lang="el-GR" dirty="0"/>
          </a:p>
        </p:txBody>
      </p:sp>
      <p:sp>
        <p:nvSpPr>
          <p:cNvPr id="5" name="4 - Υπότιτλος"/>
          <p:cNvSpPr>
            <a:spLocks noGrp="1"/>
          </p:cNvSpPr>
          <p:nvPr>
            <p:ph type="subTitle" idx="1"/>
          </p:nvPr>
        </p:nvSpPr>
        <p:spPr>
          <a:xfrm>
            <a:off x="457200" y="4286256"/>
            <a:ext cx="8186766" cy="1500198"/>
          </a:xfrm>
        </p:spPr>
        <p:txBody>
          <a:bodyPr>
            <a:normAutofit/>
          </a:bodyPr>
          <a:lstStyle/>
          <a:p>
            <a:r>
              <a:rPr lang="el-GR" sz="3200" b="1" dirty="0" smtClean="0"/>
              <a:t>ΕΣΠΑ 2007-2013 / ΕΣΠΑ 2014-2020</a:t>
            </a:r>
          </a:p>
          <a:p>
            <a:r>
              <a:rPr lang="el-GR" b="1" dirty="0" smtClean="0"/>
              <a:t>Πυλώνες Ανάπτυξης για την Ελλάδα</a:t>
            </a:r>
            <a:endParaRPr lang="el-GR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/>
          </p:cNvSpPr>
          <p:nvPr>
            <p:ph type="title" idx="4294967295"/>
          </p:nvPr>
        </p:nvSpPr>
        <p:spPr>
          <a:xfrm>
            <a:off x="285720" y="571480"/>
            <a:ext cx="8858280" cy="571504"/>
          </a:xfrm>
        </p:spPr>
        <p:txBody>
          <a:bodyPr>
            <a:noAutofit/>
          </a:bodyPr>
          <a:lstStyle/>
          <a:p>
            <a:pPr lvl="0"/>
            <a:r>
              <a:rPr lang="el-GR" sz="3200" b="1" dirty="0" smtClean="0"/>
              <a:t>Κατηγορίες </a:t>
            </a:r>
            <a:r>
              <a:rPr lang="el-GR" sz="3200" b="1" dirty="0" err="1" smtClean="0"/>
              <a:t>Εμπροσθοβαρών</a:t>
            </a:r>
            <a:r>
              <a:rPr lang="el-GR" sz="3200" b="1" dirty="0" smtClean="0"/>
              <a:t> Δράσεων </a:t>
            </a:r>
            <a:r>
              <a:rPr lang="en-US" sz="3200" b="1" kern="0" dirty="0" smtClean="0"/>
              <a:t>(</a:t>
            </a:r>
            <a:r>
              <a:rPr lang="el-GR" sz="3200" b="1" kern="0" dirty="0" smtClean="0"/>
              <a:t>1</a:t>
            </a:r>
            <a:r>
              <a:rPr lang="en-US" sz="3200" b="1" kern="0" dirty="0" smtClean="0"/>
              <a:t>)</a:t>
            </a:r>
            <a:endParaRPr lang="el-GR" sz="3200" b="1" kern="0" dirty="0" smtClean="0"/>
          </a:p>
        </p:txBody>
      </p:sp>
      <p:sp>
        <p:nvSpPr>
          <p:cNvPr id="33795" name="Rectangle 3"/>
          <p:cNvSpPr>
            <a:spLocks noGrp="1"/>
          </p:cNvSpPr>
          <p:nvPr>
            <p:ph type="body" idx="4294967295"/>
          </p:nvPr>
        </p:nvSpPr>
        <p:spPr>
          <a:xfrm>
            <a:off x="357158" y="1357298"/>
            <a:ext cx="8143932" cy="5000660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21</a:t>
            </a:r>
            <a:r>
              <a:rPr lang="el-GR" sz="2400" dirty="0" smtClean="0"/>
              <a:t> δράσεις για την  ενίσχυση</a:t>
            </a:r>
            <a:r>
              <a:rPr lang="el-GR" sz="2400" b="1" dirty="0" smtClean="0"/>
              <a:t> Έρευνας, Τεχνολογικής Ανάπτυξης &amp; Καινοτομίας</a:t>
            </a:r>
            <a:r>
              <a:rPr lang="el-GR" sz="2400" dirty="0" smtClean="0"/>
              <a:t>  Π/Υ  </a:t>
            </a:r>
            <a:r>
              <a:rPr lang="el-GR" sz="2400" b="1" dirty="0" smtClean="0"/>
              <a:t>127,5 εκατ.</a:t>
            </a:r>
            <a:r>
              <a:rPr lang="el-GR" sz="2400" dirty="0" smtClean="0"/>
              <a:t>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4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49 </a:t>
            </a:r>
            <a:r>
              <a:rPr lang="el-GR" sz="2400" dirty="0" smtClean="0"/>
              <a:t>δράσεις στον τομέα </a:t>
            </a:r>
            <a:r>
              <a:rPr lang="el-GR" sz="2400" b="1" dirty="0" smtClean="0"/>
              <a:t>Τεχν. </a:t>
            </a:r>
            <a:r>
              <a:rPr lang="el-GR" sz="2400" b="1" dirty="0" err="1" smtClean="0"/>
              <a:t>Πληρ</a:t>
            </a:r>
            <a:r>
              <a:rPr lang="el-GR" sz="2400" b="1" dirty="0" smtClean="0"/>
              <a:t>. &amp; </a:t>
            </a:r>
            <a:r>
              <a:rPr lang="el-GR" sz="2400" b="1" dirty="0" err="1" smtClean="0"/>
              <a:t>Επικοιν</a:t>
            </a:r>
            <a:r>
              <a:rPr lang="el-GR" sz="2400" b="1" dirty="0" smtClean="0"/>
              <a:t>.</a:t>
            </a:r>
            <a:r>
              <a:rPr lang="el-GR" sz="2400" dirty="0" smtClean="0"/>
              <a:t> </a:t>
            </a:r>
            <a:br>
              <a:rPr lang="el-GR" sz="2400" dirty="0" smtClean="0"/>
            </a:br>
            <a:r>
              <a:rPr lang="el-GR" sz="2400" dirty="0" smtClean="0"/>
              <a:t>Π/Υ  </a:t>
            </a:r>
            <a:r>
              <a:rPr lang="el-GR" sz="2400" b="1" dirty="0" smtClean="0"/>
              <a:t>42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4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18</a:t>
            </a:r>
            <a:r>
              <a:rPr lang="el-GR" sz="2400" dirty="0" smtClean="0"/>
              <a:t> δράσεις για τη </a:t>
            </a:r>
            <a:r>
              <a:rPr lang="el-GR" sz="2400" b="1" dirty="0" smtClean="0"/>
              <a:t>Βελτίωση της Ανταγωνιστικότητας των </a:t>
            </a:r>
            <a:r>
              <a:rPr lang="el-GR" sz="2400" b="1" dirty="0" err="1" smtClean="0"/>
              <a:t>ΜμΕ</a:t>
            </a:r>
            <a:r>
              <a:rPr lang="el-GR" sz="2400" b="1" dirty="0" smtClean="0"/>
              <a:t> ΜΜΕ</a:t>
            </a:r>
            <a:r>
              <a:rPr lang="el-GR" sz="2400" dirty="0" smtClean="0"/>
              <a:t> Π/Υ </a:t>
            </a:r>
            <a:r>
              <a:rPr lang="el-GR" sz="2400" b="1" dirty="0" smtClean="0"/>
              <a:t>283 εκ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4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127</a:t>
            </a:r>
            <a:r>
              <a:rPr lang="el-GR" sz="2400" dirty="0" smtClean="0"/>
              <a:t> δράσεις για την </a:t>
            </a:r>
            <a:r>
              <a:rPr lang="el-GR" sz="2400" b="1" dirty="0" smtClean="0"/>
              <a:t>Υποστήριξη της μετάβασης σε μία οικονομία χαμηλών εκπομπών CO2 Π/Υ</a:t>
            </a:r>
            <a:r>
              <a:rPr lang="el-GR" sz="2400" dirty="0" smtClean="0"/>
              <a:t>  </a:t>
            </a:r>
            <a:r>
              <a:rPr lang="el-GR" sz="2400" b="1" dirty="0" smtClean="0"/>
              <a:t>594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4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23</a:t>
            </a:r>
            <a:r>
              <a:rPr lang="el-GR" sz="2400" dirty="0" smtClean="0"/>
              <a:t> δράσεις για την </a:t>
            </a:r>
            <a:r>
              <a:rPr lang="el-GR" sz="2400" b="1" dirty="0" smtClean="0"/>
              <a:t>Προσαρμογή στην κλιματική αλλαγή </a:t>
            </a:r>
            <a:r>
              <a:rPr lang="el-GR" sz="2400" dirty="0" smtClean="0"/>
              <a:t>Π/Υ  </a:t>
            </a:r>
            <a:r>
              <a:rPr lang="el-GR" sz="2400" b="1" dirty="0" smtClean="0"/>
              <a:t>51,5 εκατ.</a:t>
            </a:r>
            <a:r>
              <a:rPr lang="el-GR" sz="2400" dirty="0" smtClean="0"/>
              <a:t>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4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400" b="1" dirty="0" smtClean="0"/>
              <a:t>280</a:t>
            </a:r>
            <a:r>
              <a:rPr lang="el-GR" sz="2400" dirty="0" smtClean="0"/>
              <a:t> δράσεις για τη </a:t>
            </a:r>
            <a:r>
              <a:rPr lang="el-GR" sz="2400" b="1" dirty="0" smtClean="0"/>
              <a:t>Προστασία του Περιβάλλοντος Π/Υ 1,710 δις €</a:t>
            </a: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10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3"/>
          <p:cNvSpPr>
            <a:spLocks noGrp="1"/>
          </p:cNvSpPr>
          <p:nvPr>
            <p:ph type="body" idx="4294967295"/>
          </p:nvPr>
        </p:nvSpPr>
        <p:spPr>
          <a:xfrm>
            <a:off x="285720" y="1285860"/>
            <a:ext cx="7943880" cy="5357849"/>
          </a:xfrm>
        </p:spPr>
        <p:txBody>
          <a:bodyPr>
            <a:noAutofit/>
          </a:bodyPr>
          <a:lstStyle/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33</a:t>
            </a:r>
            <a:r>
              <a:rPr lang="el-GR" sz="2000" dirty="0" smtClean="0"/>
              <a:t> δράσεις  στον τομέα</a:t>
            </a:r>
            <a:r>
              <a:rPr lang="el-GR" sz="2000" b="1" dirty="0" smtClean="0"/>
              <a:t> των Μεταφορών</a:t>
            </a:r>
            <a:r>
              <a:rPr lang="el-GR" sz="2000" dirty="0" smtClean="0"/>
              <a:t> Π/Υ </a:t>
            </a:r>
            <a:r>
              <a:rPr lang="el-GR" sz="2000" b="1" dirty="0" smtClean="0"/>
              <a:t>996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  <a:buNone/>
            </a:pPr>
            <a:endParaRPr lang="el-GR" sz="20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4</a:t>
            </a:r>
            <a:r>
              <a:rPr lang="el-GR" sz="2000" dirty="0" smtClean="0"/>
              <a:t> δράσεις για την </a:t>
            </a:r>
            <a:r>
              <a:rPr lang="el-GR" sz="2000" b="1" dirty="0" smtClean="0"/>
              <a:t>Προώθηση της Απασχόλησης Π/Υ</a:t>
            </a:r>
            <a:r>
              <a:rPr lang="el-GR" sz="2000" dirty="0" smtClean="0"/>
              <a:t> </a:t>
            </a:r>
            <a:br>
              <a:rPr lang="el-GR" sz="2000" dirty="0" smtClean="0"/>
            </a:br>
            <a:r>
              <a:rPr lang="el-GR" sz="2000" b="1" dirty="0" smtClean="0"/>
              <a:t>50 εκατ. € (πέραν των δράσεων που ήδη έχουν ανακοινωθεί από το Υπουργείο Εργασίας Π/Υ 600 εκ €)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0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42</a:t>
            </a:r>
            <a:r>
              <a:rPr lang="el-GR" sz="2000" dirty="0" smtClean="0"/>
              <a:t> δράσεις για την  </a:t>
            </a:r>
            <a:r>
              <a:rPr lang="el-GR" sz="2000" b="1" dirty="0" smtClean="0"/>
              <a:t>Προώθηση της Κοινωνικής Ένταξης και της Καταπολέμησης της Φτώχειας </a:t>
            </a:r>
            <a:r>
              <a:rPr lang="el-GR" sz="2000" dirty="0" smtClean="0"/>
              <a:t>Π/Υ </a:t>
            </a:r>
            <a:r>
              <a:rPr lang="el-GR" sz="2000" b="1" dirty="0" smtClean="0"/>
              <a:t>68,6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0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43 </a:t>
            </a:r>
            <a:r>
              <a:rPr lang="el-GR" sz="2000" dirty="0" smtClean="0"/>
              <a:t>δράσεις για την</a:t>
            </a:r>
            <a:r>
              <a:rPr lang="el-GR" sz="2000" b="1" dirty="0" smtClean="0"/>
              <a:t> Επένδυση στην εκπαίδευση &amp; Κατάρτιση Π/Υ</a:t>
            </a:r>
            <a:r>
              <a:rPr lang="el-GR" sz="2000" dirty="0" smtClean="0"/>
              <a:t> </a:t>
            </a:r>
            <a:r>
              <a:rPr lang="el-GR" sz="2000" b="1" dirty="0" smtClean="0"/>
              <a:t>112,1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0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85 </a:t>
            </a:r>
            <a:r>
              <a:rPr lang="el-GR" sz="2000" dirty="0" smtClean="0"/>
              <a:t>δράσεις για την </a:t>
            </a:r>
            <a:r>
              <a:rPr lang="el-GR" sz="2000" b="1" dirty="0" smtClean="0"/>
              <a:t>Ενίσχυση της Ικανότητας της Δημόσιας Διοίκησης </a:t>
            </a:r>
            <a:r>
              <a:rPr lang="el-GR" sz="2000" dirty="0" smtClean="0"/>
              <a:t>Π/Υ </a:t>
            </a:r>
            <a:r>
              <a:rPr lang="el-GR" sz="2000" b="1" dirty="0" smtClean="0"/>
              <a:t>192,6 εκατ. €</a:t>
            </a:r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endParaRPr lang="el-GR" sz="2000" b="1" dirty="0" smtClean="0"/>
          </a:p>
          <a:p>
            <a:pPr eaLnBrk="1" hangingPunct="1">
              <a:lnSpc>
                <a:spcPct val="90000"/>
              </a:lnSpc>
              <a:buClr>
                <a:schemeClr val="tx2"/>
              </a:buClr>
            </a:pPr>
            <a:r>
              <a:rPr lang="el-GR" sz="2000" b="1" dirty="0" smtClean="0"/>
              <a:t>10</a:t>
            </a:r>
            <a:r>
              <a:rPr lang="el-GR" sz="2000" dirty="0" smtClean="0"/>
              <a:t> δράσεις </a:t>
            </a:r>
            <a:r>
              <a:rPr lang="el-GR" sz="2000" b="1" dirty="0" smtClean="0"/>
              <a:t>Τεχνικής Βοήθειας </a:t>
            </a:r>
            <a:r>
              <a:rPr lang="el-GR" sz="2000" dirty="0" smtClean="0"/>
              <a:t>Π/Υ </a:t>
            </a:r>
            <a:r>
              <a:rPr lang="el-GR" sz="2000" b="1" dirty="0" smtClean="0"/>
              <a:t>€ 9 εκατ.</a:t>
            </a:r>
          </a:p>
        </p:txBody>
      </p:sp>
      <p:sp>
        <p:nvSpPr>
          <p:cNvPr id="5" name="Rectangle 2"/>
          <p:cNvSpPr txBox="1">
            <a:spLocks/>
          </p:cNvSpPr>
          <p:nvPr/>
        </p:nvSpPr>
        <p:spPr bwMode="auto">
          <a:xfrm>
            <a:off x="214282" y="571480"/>
            <a:ext cx="8929718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l-GR" sz="32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Κατηγορίες </a:t>
            </a:r>
            <a:r>
              <a:rPr lang="el-GR" sz="3200" b="1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Εμπροσθοβαρών</a:t>
            </a:r>
            <a:r>
              <a:rPr lang="el-GR" sz="32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Δράσεων </a:t>
            </a: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(2)</a:t>
            </a:r>
            <a:endParaRPr kumimoji="0" lang="el-GR" sz="32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11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- Τίτλος"/>
          <p:cNvSpPr>
            <a:spLocks noGrp="1"/>
          </p:cNvSpPr>
          <p:nvPr>
            <p:ph type="title"/>
          </p:nvPr>
        </p:nvSpPr>
        <p:spPr>
          <a:xfrm>
            <a:off x="428596" y="1571612"/>
            <a:ext cx="8229600" cy="1069848"/>
          </a:xfrm>
        </p:spPr>
        <p:txBody>
          <a:bodyPr>
            <a:normAutofit/>
          </a:bodyPr>
          <a:lstStyle/>
          <a:p>
            <a:r>
              <a:rPr lang="el-GR" sz="4400" b="1" dirty="0" smtClean="0"/>
              <a:t>Παράρτημα</a:t>
            </a:r>
            <a:endParaRPr lang="el-GR" sz="4400" b="1" dirty="0"/>
          </a:p>
        </p:txBody>
      </p:sp>
      <p:sp>
        <p:nvSpPr>
          <p:cNvPr id="2" name="1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12</a:t>
            </a:fld>
            <a:endParaRPr lang="el-GR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Τίτλος 1"/>
          <p:cNvSpPr>
            <a:spLocks noGrp="1"/>
          </p:cNvSpPr>
          <p:nvPr>
            <p:ph type="title" idx="4294967295"/>
          </p:nvPr>
        </p:nvSpPr>
        <p:spPr>
          <a:xfrm>
            <a:off x="285720" y="428604"/>
            <a:ext cx="7943880" cy="623909"/>
          </a:xfrm>
        </p:spPr>
        <p:txBody>
          <a:bodyPr>
            <a:normAutofit/>
          </a:bodyPr>
          <a:lstStyle/>
          <a:p>
            <a:pPr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2400" b="1" dirty="0" smtClean="0"/>
              <a:t>ΣΤΟΙΧΕΙΑ ΑΠΟΡΡΟΦΗΣΗΣ ΕΣΠΑ 2007-2013 </a:t>
            </a:r>
          </a:p>
        </p:txBody>
      </p:sp>
      <p:sp>
        <p:nvSpPr>
          <p:cNvPr id="17410" name="Θέση περιεχομένου 2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115000"/>
              </a:lnSpc>
              <a:spcBef>
                <a:spcPct val="20000"/>
              </a:spcBef>
              <a:spcAft>
                <a:spcPts val="1000"/>
              </a:spcAft>
              <a:buFont typeface="Arial" charset="0"/>
              <a:buNone/>
            </a:pPr>
            <a:endParaRPr lang="el-GR" sz="3200"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>
              <a:lnSpc>
                <a:spcPct val="115000"/>
              </a:lnSpc>
              <a:spcBef>
                <a:spcPct val="20000"/>
              </a:spcBef>
              <a:spcAft>
                <a:spcPts val="1000"/>
              </a:spcAft>
              <a:buFont typeface="Arial" charset="0"/>
              <a:buNone/>
            </a:pPr>
            <a:endParaRPr lang="el-GR" sz="3200"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Font typeface="Arial" charset="0"/>
              <a:buNone/>
            </a:pPr>
            <a:endParaRPr lang="el-GR" sz="320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5604" name="Group 244"/>
          <p:cNvGraphicFramePr>
            <a:graphicFrameLocks noGrp="1"/>
          </p:cNvGraphicFramePr>
          <p:nvPr/>
        </p:nvGraphicFramePr>
        <p:xfrm>
          <a:off x="714348" y="1142984"/>
          <a:ext cx="7572427" cy="4946665"/>
        </p:xfrm>
        <a:graphic>
          <a:graphicData uri="http://schemas.openxmlformats.org/drawingml/2006/table">
            <a:tbl>
              <a:tblPr/>
              <a:tblGrid>
                <a:gridCol w="1632758"/>
                <a:gridCol w="576486"/>
                <a:gridCol w="963290"/>
                <a:gridCol w="1071149"/>
                <a:gridCol w="1032096"/>
                <a:gridCol w="613679"/>
                <a:gridCol w="1035816"/>
                <a:gridCol w="647153"/>
              </a:tblGrid>
              <a:tr h="18321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ΣΥΝΟΛΙΚΗ ΑΠΟΡΡΟΦΗΣΗ  ΚΟΙΝΟΤΙΚΗΣ ΣΥΜΜΕΤΟΧΗΣ</a:t>
                      </a: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</a:tr>
              <a:tr h="1301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784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ΠΙΧΕΙΡΗΣΙΑΚΟ ΠΡΟΓΡΑΜΜΑ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ΡΟΥΠΟΛΟΓΙΣΜΟΣ ΚΟΙΝΟΤΙΚΗΣ ΣΥΜΜΕΤΟΧΗΣ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ΡΟΚΑΤΑΒΟΛΗ 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ΚΟΙΝΟΤΙΚΗ ΣΥΜΜΕΤΟΧΗ ΒΑΣΕΙ ΔΑΠΑΝΩΝ-ΑΙΤΗΣΕΙΣ ΠΟΥ ΕΧΟΥΝ ΥΠΟΒΛΗΘΕΙ ΣΤΗΝ ΕΠΙΤΡΟΠΗ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ΟΣΟΣΤΟ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ΚΟΙΝΟΤΙΚΗ ΣΥΜΜΕΤΟΧΗ ΠΟΥ ΕΧΕΙ ΕΙΣΠΡΑΧΘΕΙ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ΟΣΟΣΤΟ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3017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ΕΡΙΒΑΛΛΟΝ - ΑΕΙΦΟΡΟΣ ΑΝΑΠΤΥΞΗ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0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.50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7.409.487,2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7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8.411.158,5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Τ.Σ. 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500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8.50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88.072.330,6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67.476.287,9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ΝΙΣΧΥΣΗ ΤΗΣ ΠΡΟΣΠΕΛΑΣΙΜΟΤΗΤΑΣ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963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8.725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605.899.131,19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673.285.874,2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Τ.Σ. 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197.160.864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8.787.064,8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977.269.705,0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0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991.141.168,03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1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ΑΝΤΑΓΩΝΙΣΤΙΚΟΤΗΤΑ ΚΑΙ ΕΠΙΧΕΙΡΗΜΑΤΙΚΟΤΗΤΑ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456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6.825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316.226.022,1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0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380.869.287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ΨΗΦΙΑΚΗ  ΣΥΓΚΛΙΣΗ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5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4.50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3.467.648,89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2.069.826,56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ΑΝΑΠΤΥΞΗ ΑΝΘΡΩΠΙΝΟΥ ΔΥΝΑΜΙΚΟΥ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335.859.324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4.340.428,03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759.694.391,2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849.079.240,5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.794.293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.159.571,98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.875.903,0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.423.041,9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8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ΠΑΙΔΕΥΣΗ ΚΑΙ ΔΙΑ ΒΙΟΥ ΜΑΘΗΣΗ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396.166.468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4.712.485,1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04.274.075,6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92.375.733,26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3.833.532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287.514,9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3.833.532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1.641.855,4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ΒΕΛΤΙΩΣΗ ΔΙΟΙΚΗΤΙΚΗΣ ΙΚΑΝΟΤΗΤΑΣ ΔΗΜΟΣΙΑΣ ΔΙΟΙΚΗΣΗΣ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4.974.207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6.722.086,8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1.596.348,6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3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7.225.496,6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2318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.372.176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52.913,2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.712.780,8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6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.603.567,2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81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ΤΕΧΝΙΚΗ ΥΠΟΣΤΗΡΙΞΗ ΕΦΑΡΜΟΓΗΣ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5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.40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5.863.591,16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7.742.508,5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ΜΑΚΕΔΟΝΙΑΣ - ΘΡΑΚΗΣ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575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0.625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103.391.867,23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248.643.279,64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392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ΔΥΤΙΚΗΣ ΕΛΛΑΔΑΣ, ΠΕΛΟΠΟΝΝΗΣΟΥ, ΙΟΝΙΩΝ ΝΗΣΩΝ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99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.55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7.943.686,87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6.493.686,87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6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ΚΡΗΤΗΣ ΚΑΙ ΝΗΣΩΝ ΑΙΓΑΙΟΥ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23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.825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7.860.344,59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6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13.689.827,5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0.300.178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.522.513,3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6.096.080,5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4.099.234,38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8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ΘΕΣΣΑΛΙΑΣ- ΣΤΕΡΕΑΣ ΕΛΛΑΔΑΣ- ΗΠΕΙΡΟΥ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8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.35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76.744.450,7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1.452.028,5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67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7.525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5.716.748,47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8.65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ΑΤΤΙΚΗΣ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ΤΠΑ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238.000.000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2.850.000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816.888.865,62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1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949.257.421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463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ΘΝΙΚΟ ΑΠΟΘΕΜΑΤΙΚΟ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8.800.403</a:t>
                      </a:r>
                    </a:p>
                  </a:txBody>
                  <a:tcPr marL="6991" marR="6991" marT="6991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.910.030,23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4.935.703,3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4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6.845.733,58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2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01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ΣΥΝΟΛΟ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.210.261.445,00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515.769.608,38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.023.772.694,95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.915.476.257,21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4%</a:t>
                      </a:r>
                    </a:p>
                  </a:txBody>
                  <a:tcPr marL="6991" marR="6991" marT="6991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13017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0176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ΝΤΟΣ ΤΟΥ ΟΚΤΩΒΡΙΟΥ ΠΡΟΒΛΕΠΕΤΑΙ ΝΑ ΦΘΑΣΟΥΝ ΟΙ ΕΙΣΠΡΑΞΕΙΣ </a:t>
                      </a: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3 Δις ΕΥΡΩ</a:t>
                      </a: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6%</a:t>
                      </a:r>
                    </a:p>
                  </a:txBody>
                  <a:tcPr marL="6991" marR="6991" marT="6991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13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488" name="Group 104"/>
          <p:cNvGraphicFramePr>
            <a:graphicFrameLocks noGrp="1"/>
          </p:cNvGraphicFramePr>
          <p:nvPr/>
        </p:nvGraphicFramePr>
        <p:xfrm>
          <a:off x="323850" y="1712913"/>
          <a:ext cx="8229600" cy="2716215"/>
        </p:xfrm>
        <a:graphic>
          <a:graphicData uri="http://schemas.openxmlformats.org/drawingml/2006/table">
            <a:tbl>
              <a:tblPr/>
              <a:tblGrid>
                <a:gridCol w="2162175"/>
                <a:gridCol w="1339850"/>
                <a:gridCol w="1392238"/>
                <a:gridCol w="1497012"/>
                <a:gridCol w="1277938"/>
                <a:gridCol w="560387"/>
              </a:tblGrid>
              <a:tr h="20955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ΑΡΑΚΟΛΟΥΘΗΣΗ ΕΠΙΤΕΥΞΗΣ ΣΤΟΧΩΝ ΜΝΗΜΟΝΙΟΥ</a:t>
                      </a: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625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ΑΠΟΛΟΓΙΣΤΙΚΑ ΣΤΟΙΧΕΙΑ ΜΕ ΒΑΣΗ ΑΙΤΗΣΕΙΣ ΠΟΥ ΥΠΟΒΑΛΛΟΝΤΑΙ ΣΤΗΝ ΕΥΡΩΠΑΪΚΗ ΕΠΙΤΡΟΠΗ</a:t>
                      </a: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415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113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1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2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6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ΣΤΟΧΟΣ Α' ΑΞΑΜΗΝΟΥ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05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31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84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00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6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ΕΛΕΣΗ 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82,91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2,62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174,96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599,02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ΟΣΟΣΤΟ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3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9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0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6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ΣΤΟΧΟΣ ΕΤΟΥΣ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350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730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890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000,0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66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ΕΚΤΕΛΕΣΗ 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301,95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255,90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.596,03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.000,00)*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ΠΟΣΟΣΤΟ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7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8%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 ΜΕΧΡΙ ΤΕΛΟΣ ΣΕΠΤΕΜΒΡΊΟΥ</a:t>
                      </a: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l-G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55" marR="8755" marT="8755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533" name="Τίτλος 1"/>
          <p:cNvSpPr>
            <a:spLocks noGrp="1"/>
          </p:cNvSpPr>
          <p:nvPr>
            <p:ph type="title" idx="4294967295"/>
          </p:nvPr>
        </p:nvSpPr>
        <p:spPr>
          <a:xfrm>
            <a:off x="285720" y="500042"/>
            <a:ext cx="7943880" cy="714380"/>
          </a:xfrm>
        </p:spPr>
        <p:txBody>
          <a:bodyPr>
            <a:normAutofit/>
          </a:bodyPr>
          <a:lstStyle/>
          <a:p>
            <a:pPr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2600" b="1" dirty="0" smtClean="0"/>
              <a:t>ΣΤΟΙΧΕΙΑ ΑΠΟΡΡΟΦΗΣΗΣ ΕΣΠΑ 2007-2013</a:t>
            </a: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14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Τίτλος 1"/>
          <p:cNvSpPr txBox="1">
            <a:spLocks/>
          </p:cNvSpPr>
          <p:nvPr/>
        </p:nvSpPr>
        <p:spPr bwMode="auto">
          <a:xfrm>
            <a:off x="285720" y="571480"/>
            <a:ext cx="8401080" cy="68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l-GR" sz="40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4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ΕΣΠΑ 2007-2013 / Τι πετύχαμε;</a:t>
            </a:r>
            <a:endParaRPr lang="el-GR" sz="40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4 - Ορθογώνιο"/>
          <p:cNvSpPr/>
          <p:nvPr/>
        </p:nvSpPr>
        <p:spPr>
          <a:xfrm>
            <a:off x="500034" y="5643578"/>
            <a:ext cx="7929618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ΚΑΜΙΑ ΑΠΩΛΕΙΑ ΚΟΙΝΟΤΙΚΩΝ ΠΟΡΩΝ </a:t>
            </a:r>
            <a:endParaRPr lang="el-GR" sz="2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2</a:t>
            </a:fld>
            <a:endParaRPr lang="el-GR"/>
          </a:p>
        </p:txBody>
      </p:sp>
      <p:sp>
        <p:nvSpPr>
          <p:cNvPr id="8" name="7 - Επεξήγηση με παραλληλόγραμμο"/>
          <p:cNvSpPr/>
          <p:nvPr/>
        </p:nvSpPr>
        <p:spPr>
          <a:xfrm>
            <a:off x="500034" y="1500174"/>
            <a:ext cx="8001056" cy="3357586"/>
          </a:xfrm>
          <a:prstGeom prst="wedgeRectCallout">
            <a:avLst>
              <a:gd name="adj1" fmla="val -20833"/>
              <a:gd name="adj2" fmla="val 65493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361950">
              <a:spcBef>
                <a:spcPct val="20000"/>
              </a:spcBef>
              <a:buFont typeface="Wingdings" pitchFamily="2" charset="2"/>
              <a:buChar char="Ø"/>
            </a:pP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Σημαντική </a:t>
            </a:r>
            <a:r>
              <a:rPr lang="el-GR" sz="2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αύξηση απορρόφησης </a:t>
            </a: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κοινοτικών πόρων </a:t>
            </a:r>
          </a:p>
          <a:p>
            <a:pPr marL="361950" indent="-361950">
              <a:spcBef>
                <a:spcPct val="20000"/>
              </a:spcBef>
            </a:pP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	Από 41,3% τον Ιούνιο του 2012 (5ετία) σε 85,7% την τελευταία 2ετία</a:t>
            </a:r>
          </a:p>
          <a:p>
            <a:pPr marL="361950" indent="-361950">
              <a:spcBef>
                <a:spcPct val="20000"/>
              </a:spcBef>
            </a:pPr>
            <a:endParaRPr lang="el-GR" sz="2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61950" indent="-361950">
              <a:spcBef>
                <a:spcPct val="20000"/>
              </a:spcBef>
              <a:buFont typeface="Wingdings" pitchFamily="2" charset="2"/>
              <a:buChar char="Ø"/>
            </a:pP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Έως 31</a:t>
            </a:r>
            <a:r>
              <a:rPr lang="en-US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</a:t>
            </a:r>
            <a:r>
              <a:rPr lang="en-US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5 </a:t>
            </a:r>
            <a:r>
              <a:rPr lang="el-GR" sz="2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πλήρη απορρόφηση</a:t>
            </a: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του συνολικού προϋπολογισμού</a:t>
            </a:r>
          </a:p>
          <a:p>
            <a:pPr marL="361950" indent="-361950">
              <a:spcBef>
                <a:spcPct val="20000"/>
              </a:spcBef>
              <a:buFont typeface="Wingdings" pitchFamily="2" charset="2"/>
              <a:buChar char="Ø"/>
            </a:pPr>
            <a:endParaRPr lang="el-GR" sz="2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361950" indent="-361950">
              <a:spcBef>
                <a:spcPct val="20000"/>
              </a:spcBef>
              <a:buFont typeface="Wingdings" pitchFamily="2" charset="2"/>
              <a:buChar char="Ø"/>
            </a:pPr>
            <a:r>
              <a:rPr lang="el-GR" sz="2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ξορθολογισμός</a:t>
            </a:r>
            <a:r>
              <a:rPr lang="el-GR" sz="2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των Επιχειρησιακών Προγραμμάτων</a:t>
            </a:r>
          </a:p>
          <a:p>
            <a:pPr algn="ctr"/>
            <a:endParaRPr lang="el-GR" sz="2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Τίτλος 1"/>
          <p:cNvSpPr>
            <a:spLocks noGrp="1"/>
          </p:cNvSpPr>
          <p:nvPr>
            <p:ph type="title" idx="4294967295"/>
          </p:nvPr>
        </p:nvSpPr>
        <p:spPr>
          <a:xfrm>
            <a:off x="357158" y="500042"/>
            <a:ext cx="8286808" cy="917596"/>
          </a:xfrm>
        </p:spPr>
        <p:txBody>
          <a:bodyPr/>
          <a:lstStyle/>
          <a:p>
            <a:pPr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4000" b="1" dirty="0" smtClean="0"/>
              <a:t>ΕΣΠΑ 2007-2013</a:t>
            </a:r>
          </a:p>
        </p:txBody>
      </p:sp>
      <p:sp>
        <p:nvSpPr>
          <p:cNvPr id="20482" name="Θέση περιεχομένου 2"/>
          <p:cNvSpPr txBox="1">
            <a:spLocks/>
          </p:cNvSpPr>
          <p:nvPr/>
        </p:nvSpPr>
        <p:spPr bwMode="auto">
          <a:xfrm>
            <a:off x="457200" y="1571612"/>
            <a:ext cx="8401080" cy="414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el-GR" sz="3200" dirty="0" smtClean="0">
                <a:latin typeface="Arial" pitchFamily="34" charset="0"/>
                <a:cs typeface="Arial" pitchFamily="34" charset="0"/>
              </a:rPr>
              <a:t>Έμφαση στην ενίσχυση των Μικρομεσαίων Επιχειρήσεων</a:t>
            </a:r>
          </a:p>
          <a:p>
            <a:pPr>
              <a:spcBef>
                <a:spcPct val="20000"/>
              </a:spcBef>
            </a:pPr>
            <a:endParaRPr lang="el-GR" sz="3000" dirty="0" smtClean="0"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3000" b="1" dirty="0" smtClean="0">
                <a:latin typeface="Arial" pitchFamily="34" charset="0"/>
                <a:cs typeface="Arial" pitchFamily="34" charset="0"/>
              </a:rPr>
              <a:t>1</a:t>
            </a:r>
            <a:r>
              <a:rPr lang="en-US" sz="3000" b="1" dirty="0" smtClean="0">
                <a:latin typeface="Arial" pitchFamily="34" charset="0"/>
                <a:cs typeface="Arial" pitchFamily="34" charset="0"/>
              </a:rPr>
              <a:t>18</a:t>
            </a:r>
            <a:r>
              <a:rPr lang="el-GR" sz="3000" b="1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en-US" sz="3000" b="1" dirty="0" smtClean="0">
                <a:latin typeface="Arial" pitchFamily="34" charset="0"/>
                <a:cs typeface="Arial" pitchFamily="34" charset="0"/>
              </a:rPr>
              <a:t>400</a:t>
            </a:r>
            <a:r>
              <a:rPr lang="el-GR" sz="3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l-GR" sz="3000" dirty="0" smtClean="0">
                <a:latin typeface="Arial" pitchFamily="34" charset="0"/>
                <a:cs typeface="Arial" pitchFamily="34" charset="0"/>
              </a:rPr>
              <a:t>συνολικά ωφελούμενες επιχειρήσεις </a:t>
            </a:r>
          </a:p>
          <a:p>
            <a:pPr marL="457200" indent="-4572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endParaRPr lang="el-GR" sz="3000" dirty="0" smtClean="0">
              <a:latin typeface="Arial" pitchFamily="34" charset="0"/>
              <a:cs typeface="Arial" pitchFamily="34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3000" dirty="0" smtClean="0">
                <a:latin typeface="Arial" pitchFamily="34" charset="0"/>
                <a:cs typeface="Arial" pitchFamily="34" charset="0"/>
              </a:rPr>
              <a:t>Προϋπολογισμός: </a:t>
            </a:r>
            <a:r>
              <a:rPr lang="en-US" sz="3000" b="1" dirty="0" smtClean="0">
                <a:latin typeface="Arial" pitchFamily="34" charset="0"/>
                <a:cs typeface="Arial" pitchFamily="34" charset="0"/>
              </a:rPr>
              <a:t>9</a:t>
            </a:r>
            <a:r>
              <a:rPr lang="el-GR" sz="3000" b="1" dirty="0" smtClean="0">
                <a:latin typeface="Arial" pitchFamily="34" charset="0"/>
                <a:cs typeface="Arial" pitchFamily="34" charset="0"/>
              </a:rPr>
              <a:t>,</a:t>
            </a:r>
            <a:r>
              <a:rPr lang="en-US" sz="3000" b="1" smtClean="0">
                <a:latin typeface="Arial" pitchFamily="34" charset="0"/>
                <a:cs typeface="Arial" pitchFamily="34" charset="0"/>
              </a:rPr>
              <a:t>1</a:t>
            </a:r>
            <a:r>
              <a:rPr lang="el-GR" sz="3000" b="1" smtClean="0">
                <a:latin typeface="Arial" pitchFamily="34" charset="0"/>
                <a:cs typeface="Arial" pitchFamily="34" charset="0"/>
              </a:rPr>
              <a:t> </a:t>
            </a:r>
            <a:r>
              <a:rPr lang="el-GR" sz="3000" b="1" dirty="0" smtClean="0">
                <a:latin typeface="Arial" pitchFamily="34" charset="0"/>
                <a:cs typeface="Arial" pitchFamily="34" charset="0"/>
              </a:rPr>
              <a:t>δις € </a:t>
            </a:r>
          </a:p>
          <a:p>
            <a:pPr marL="457200" indent="-457200">
              <a:spcBef>
                <a:spcPct val="20000"/>
              </a:spcBef>
              <a:buFont typeface="Wingdings" pitchFamily="2" charset="2"/>
              <a:buChar char="ü"/>
            </a:pPr>
            <a:endParaRPr lang="el-GR" sz="3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3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Τίτλος 1"/>
          <p:cNvSpPr>
            <a:spLocks noGrp="1"/>
          </p:cNvSpPr>
          <p:nvPr>
            <p:ph type="title" idx="4294967295"/>
          </p:nvPr>
        </p:nvSpPr>
        <p:spPr>
          <a:xfrm>
            <a:off x="357158" y="571480"/>
            <a:ext cx="8786842" cy="755670"/>
          </a:xfrm>
        </p:spPr>
        <p:txBody>
          <a:bodyPr>
            <a:noAutofit/>
          </a:bodyPr>
          <a:lstStyle/>
          <a:p>
            <a:pPr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3800" b="1" dirty="0" smtClean="0"/>
              <a:t>Νέο ΕΣΠΑ 2014-2020</a:t>
            </a:r>
          </a:p>
        </p:txBody>
      </p:sp>
      <p:sp>
        <p:nvSpPr>
          <p:cNvPr id="32771" name="Θέση περιεχομένου 2"/>
          <p:cNvSpPr txBox="1">
            <a:spLocks/>
          </p:cNvSpPr>
          <p:nvPr/>
        </p:nvSpPr>
        <p:spPr bwMode="auto">
          <a:xfrm>
            <a:off x="468313" y="1785926"/>
            <a:ext cx="8207375" cy="40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Μάιος 2014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: έγκριση πλαισίου νέου ΕΣΠΑ από Ε.Ε. – </a:t>
            </a:r>
          </a:p>
          <a:p>
            <a:pPr marL="266700" indent="-266700" algn="just">
              <a:buClr>
                <a:schemeClr val="tx2"/>
              </a:buClr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	3</a:t>
            </a:r>
            <a:r>
              <a:rPr lang="el-GR" sz="2400" baseline="30000" dirty="0" smtClean="0">
                <a:latin typeface="Arial" pitchFamily="34" charset="0"/>
                <a:cs typeface="Arial" pitchFamily="34" charset="0"/>
              </a:rPr>
              <a:t>η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 χώρα από τα 28 Κράτη-Μέλη</a:t>
            </a: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Ιούλιος 2014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: υποβολή στην Ε.Ε. 19 Επιχειρησιακών Προγραμμάτων (13 Περιφερειακά + 6 Τομεακά)</a:t>
            </a:r>
            <a:endParaRPr lang="en-US" sz="2400" dirty="0">
              <a:latin typeface="Arial" pitchFamily="34" charset="0"/>
              <a:cs typeface="Arial" pitchFamily="34" charset="0"/>
            </a:endParaRP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>
              <a:latin typeface="Arial" pitchFamily="34" charset="0"/>
              <a:cs typeface="Arial" pitchFamily="34" charset="0"/>
            </a:endParaRPr>
          </a:p>
          <a:p>
            <a:pPr marL="266700" indent="-266700" algn="just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Εκτιμώμενος Π/Υ : 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26,07 δις €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 συνολικά</a:t>
            </a:r>
            <a:endParaRPr lang="el-G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4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Τίτλος 1"/>
          <p:cNvSpPr>
            <a:spLocks noGrp="1"/>
          </p:cNvSpPr>
          <p:nvPr>
            <p:ph type="title" idx="4294967295"/>
          </p:nvPr>
        </p:nvSpPr>
        <p:spPr>
          <a:xfrm>
            <a:off x="285720" y="500042"/>
            <a:ext cx="8715436" cy="827108"/>
          </a:xfrm>
        </p:spPr>
        <p:txBody>
          <a:bodyPr>
            <a:normAutofit/>
          </a:bodyPr>
          <a:lstStyle/>
          <a:p>
            <a:pPr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3800" b="1" dirty="0" smtClean="0"/>
              <a:t>Νέο ΕΣΠΑ 2014-2020</a:t>
            </a:r>
          </a:p>
        </p:txBody>
      </p:sp>
      <p:sp>
        <p:nvSpPr>
          <p:cNvPr id="32771" name="Θέση περιεχομένου 2"/>
          <p:cNvSpPr txBox="1">
            <a:spLocks/>
          </p:cNvSpPr>
          <p:nvPr/>
        </p:nvSpPr>
        <p:spPr bwMode="auto">
          <a:xfrm>
            <a:off x="357159" y="1500174"/>
            <a:ext cx="8358245" cy="435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eaLnBrk="1" hangingPunct="1"/>
            <a:r>
              <a:rPr lang="el-GR" sz="2400" dirty="0" smtClean="0">
                <a:latin typeface="Arial" pitchFamily="34" charset="0"/>
                <a:cs typeface="Arial" pitchFamily="34" charset="0"/>
              </a:rPr>
              <a:t>Ολοκληρώνεται και θα τεθεί σε διαβούλευση το Σ/Ν για το νέο ΕΣΠΑ</a:t>
            </a:r>
          </a:p>
          <a:p>
            <a:pPr marL="514350" indent="-514350" eaLnBrk="1" hangingPunct="1">
              <a:buFont typeface="+mj-lt"/>
              <a:buAutoNum type="arabicPeriod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361950" indent="-361950" eaLnBrk="1" hangingPunct="1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Προβλέπονται μέτρα απλούστευσης των διαδικασιών</a:t>
            </a:r>
          </a:p>
          <a:p>
            <a:pPr marL="361950" indent="-361950" eaLnBrk="1" hangingPunct="1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361950" indent="-361950" eaLnBrk="1" hangingPunct="1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Προτείνονται ρυθμίσεις για την επιτάχυνση των έργων</a:t>
            </a:r>
          </a:p>
          <a:p>
            <a:pPr marL="361950" indent="-361950" eaLnBrk="1" hangingPunct="1"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361950" indent="-361950" eaLnBrk="1" hangingPunct="1"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Δίδεται έμφαση στο χρονικό προγραμματισμό των     έργων και την τήρησή του</a:t>
            </a: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5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Τίτλος 1"/>
          <p:cNvSpPr>
            <a:spLocks noGrp="1"/>
          </p:cNvSpPr>
          <p:nvPr>
            <p:ph type="title" idx="4294967295"/>
          </p:nvPr>
        </p:nvSpPr>
        <p:spPr>
          <a:xfrm>
            <a:off x="285720" y="785794"/>
            <a:ext cx="8858280" cy="928694"/>
          </a:xfrm>
        </p:spPr>
        <p:txBody>
          <a:bodyPr>
            <a:noAutofit/>
          </a:bodyPr>
          <a:lstStyle/>
          <a:p>
            <a:pPr marL="4572000" indent="-4572000" algn="l" eaLnBrk="1" hangingPunct="1">
              <a:lnSpc>
                <a:spcPct val="115000"/>
              </a:lnSpc>
              <a:spcAft>
                <a:spcPts val="1000"/>
              </a:spcAft>
            </a:pPr>
            <a:r>
              <a:rPr lang="el-GR" sz="3400" b="1" dirty="0" smtClean="0"/>
              <a:t>Νέο ΕΣΠΑ 2014-2020 / </a:t>
            </a:r>
            <a:r>
              <a:rPr lang="el-GR" sz="3400" b="1" dirty="0" err="1" smtClean="0"/>
              <a:t>Εμπροσθοβαρείς</a:t>
            </a:r>
            <a:r>
              <a:rPr lang="el-GR" sz="3400" b="1" dirty="0" smtClean="0"/>
              <a:t> δράσεις</a:t>
            </a:r>
          </a:p>
        </p:txBody>
      </p:sp>
      <p:sp>
        <p:nvSpPr>
          <p:cNvPr id="31747" name="Θέση περιεχομένου 2"/>
          <p:cNvSpPr txBox="1">
            <a:spLocks/>
          </p:cNvSpPr>
          <p:nvPr/>
        </p:nvSpPr>
        <p:spPr bwMode="auto">
          <a:xfrm>
            <a:off x="428596" y="2071678"/>
            <a:ext cx="8207375" cy="344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algn="just">
              <a:lnSpc>
                <a:spcPct val="90000"/>
              </a:lnSpc>
              <a:spcBef>
                <a:spcPct val="20000"/>
              </a:spcBef>
            </a:pPr>
            <a:r>
              <a:rPr lang="el-GR" sz="2400" dirty="0" smtClean="0">
                <a:latin typeface="Arial" pitchFamily="34" charset="0"/>
                <a:cs typeface="Arial" pitchFamily="34" charset="0"/>
              </a:rPr>
              <a:t>Διαπραγματευθήκαμε με την Ε.Ε. και πετύχαμε την </a:t>
            </a:r>
            <a:r>
              <a:rPr lang="el-GR" sz="2400" b="1" dirty="0" err="1" smtClean="0">
                <a:latin typeface="Arial" pitchFamily="34" charset="0"/>
                <a:cs typeface="Arial" pitchFamily="34" charset="0"/>
              </a:rPr>
              <a:t>εμπροσθοβαρή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 έναρξη </a:t>
            </a:r>
            <a:r>
              <a:rPr lang="el-GR" sz="2400" dirty="0">
                <a:latin typeface="Arial" pitchFamily="34" charset="0"/>
                <a:cs typeface="Arial" pitchFamily="34" charset="0"/>
              </a:rPr>
              <a:t>του ΕΣΠΑ 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2014-2020</a:t>
            </a:r>
            <a:endParaRPr lang="el-GR" sz="2400" dirty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Font typeface="+mj-lt"/>
              <a:buAutoNum type="arabicPeriod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700</a:t>
            </a:r>
            <a:r>
              <a:rPr lang="en-US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περίπου έργα </a:t>
            </a:r>
            <a:r>
              <a:rPr lang="el-GR" sz="2400" dirty="0">
                <a:latin typeface="Arial" pitchFamily="34" charset="0"/>
                <a:cs typeface="Arial" pitchFamily="34" charset="0"/>
              </a:rPr>
              <a:t>συνολικού 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Π/Υ πάνω από 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4 </a:t>
            </a:r>
            <a:r>
              <a:rPr lang="el-GR" sz="2400" b="1" dirty="0">
                <a:latin typeface="Arial" pitchFamily="34" charset="0"/>
                <a:cs typeface="Arial" pitchFamily="34" charset="0"/>
              </a:rPr>
              <a:t>δις € </a:t>
            </a:r>
            <a:r>
              <a:rPr lang="el-GR" sz="2400" dirty="0">
                <a:latin typeface="Arial" pitchFamily="34" charset="0"/>
                <a:cs typeface="Arial" pitchFamily="34" charset="0"/>
              </a:rPr>
              <a:t>μπορούν να ξεκινήσουν 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άμεσα</a:t>
            </a:r>
            <a:endParaRPr lang="el-GR" sz="2400" dirty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lnSpc>
                <a:spcPct val="90000"/>
              </a:lnSpc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Επιπλέον,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 έχουν ξεκινήσει </a:t>
            </a:r>
            <a:r>
              <a:rPr lang="el-GR" sz="2400" b="1" dirty="0" err="1" smtClean="0">
                <a:latin typeface="Arial" pitchFamily="34" charset="0"/>
                <a:cs typeface="Arial" pitchFamily="34" charset="0"/>
              </a:rPr>
              <a:t>Εμπροσθοβαρείς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 Δράσεις </a:t>
            </a:r>
            <a:r>
              <a:rPr lang="el-GR" sz="2400" dirty="0" smtClean="0">
                <a:latin typeface="Arial" pitchFamily="34" charset="0"/>
                <a:cs typeface="Arial" pitchFamily="34" charset="0"/>
              </a:rPr>
              <a:t>για την απασχόληση ύψους 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700 εκ. €</a:t>
            </a:r>
            <a:endParaRPr lang="el-G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6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/>
          </p:cNvSpPr>
          <p:nvPr>
            <p:ph type="title" idx="4294967295"/>
          </p:nvPr>
        </p:nvSpPr>
        <p:spPr>
          <a:xfrm>
            <a:off x="428596" y="571480"/>
            <a:ext cx="8572560" cy="5715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l-GR" sz="3200" b="1" dirty="0" smtClean="0"/>
              <a:t>Συμβολή στην Ελληνική Οικονομία</a:t>
            </a:r>
          </a:p>
        </p:txBody>
      </p:sp>
      <p:sp>
        <p:nvSpPr>
          <p:cNvPr id="33795" name="Rectangle 3"/>
          <p:cNvSpPr>
            <a:spLocks noGrp="1"/>
          </p:cNvSpPr>
          <p:nvPr>
            <p:ph type="body" idx="4294967295"/>
          </p:nvPr>
        </p:nvSpPr>
        <p:spPr>
          <a:xfrm>
            <a:off x="571472" y="4000504"/>
            <a:ext cx="8143932" cy="2428892"/>
          </a:xfrm>
          <a:ln>
            <a:noFill/>
          </a:ln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  <a:buNone/>
            </a:pPr>
            <a:endParaRPr lang="el-GR" sz="2800" b="1" dirty="0" smtClean="0">
              <a:latin typeface="Calibri" pitchFamily="34" charset="0"/>
            </a:endParaRPr>
          </a:p>
          <a:p>
            <a:pPr algn="just" eaLnBrk="1" hangingPunct="1">
              <a:lnSpc>
                <a:spcPct val="90000"/>
              </a:lnSpc>
            </a:pPr>
            <a:endParaRPr lang="el-GR" sz="2800" b="1" dirty="0" smtClean="0">
              <a:latin typeface="Calibri" pitchFamily="34" charset="0"/>
            </a:endParaRPr>
          </a:p>
          <a:p>
            <a:pPr algn="just" eaLnBrk="1" hangingPunct="1">
              <a:lnSpc>
                <a:spcPct val="90000"/>
              </a:lnSpc>
            </a:pPr>
            <a:endParaRPr lang="el-GR" sz="2800" b="1" dirty="0" smtClean="0">
              <a:latin typeface="Calibri" pitchFamily="34" charset="0"/>
            </a:endParaRPr>
          </a:p>
          <a:p>
            <a:pPr algn="just" eaLnBrk="1" hangingPunct="1">
              <a:lnSpc>
                <a:spcPct val="90000"/>
              </a:lnSpc>
            </a:pPr>
            <a:endParaRPr lang="el-GR" sz="2800" b="1" dirty="0" smtClean="0">
              <a:latin typeface="Calibri" pitchFamily="34" charset="0"/>
            </a:endParaRPr>
          </a:p>
        </p:txBody>
      </p:sp>
      <p:sp>
        <p:nvSpPr>
          <p:cNvPr id="4" name="Rectangle 3"/>
          <p:cNvSpPr txBox="1">
            <a:spLocks/>
          </p:cNvSpPr>
          <p:nvPr/>
        </p:nvSpPr>
        <p:spPr>
          <a:xfrm>
            <a:off x="500034" y="4643446"/>
            <a:ext cx="7943880" cy="1571636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365760" marR="0" lvl="0" indent="-256032" algn="just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tabLst/>
              <a:defRPr/>
            </a:pPr>
            <a:r>
              <a:rPr kumimoji="0" lang="el-GR" sz="2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r>
              <a:rPr kumimoji="0" lang="el-GR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2 δις € διαθέσιμα στην Ελληνική Οικονομία</a:t>
            </a:r>
            <a:r>
              <a:rPr kumimoji="0" lang="el-GR" sz="2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l-GR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έως το τέλος του 2015</a:t>
            </a:r>
          </a:p>
          <a:p>
            <a:pPr marL="365760" marR="0" lvl="0" indent="-256032" algn="just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endParaRPr kumimoji="0" lang="el-GR" sz="2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65760" marR="0" lvl="0" indent="-256032" algn="just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endParaRPr kumimoji="0" lang="el-GR" sz="2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65760" marR="0" lvl="0" indent="-256032" algn="just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endParaRPr kumimoji="0" lang="el-GR" sz="2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365760" marR="0" lvl="0" indent="-256032" algn="just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endParaRPr kumimoji="0" lang="el-GR" sz="2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7</a:t>
            </a:fld>
            <a:endParaRPr lang="el-GR"/>
          </a:p>
        </p:txBody>
      </p:sp>
      <p:sp>
        <p:nvSpPr>
          <p:cNvPr id="7" name="6 - Επεξήγηση με παραλληλόγραμμο"/>
          <p:cNvSpPr/>
          <p:nvPr/>
        </p:nvSpPr>
        <p:spPr>
          <a:xfrm>
            <a:off x="571472" y="1428736"/>
            <a:ext cx="7858180" cy="2500330"/>
          </a:xfrm>
          <a:prstGeom prst="wedgeRectCallout">
            <a:avLst>
              <a:gd name="adj1" fmla="val -20463"/>
              <a:gd name="adj2" fmla="val 69559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4,2 δις € από ΕΣΠΑ 2007-2013</a:t>
            </a:r>
          </a:p>
          <a:p>
            <a:pPr marL="342900" indent="-342900" algn="just" eaLnBrk="1" hangingPunct="1">
              <a:lnSpc>
                <a:spcPct val="90000"/>
              </a:lnSpc>
              <a:buFont typeface="Wingdings" pitchFamily="2" charset="2"/>
              <a:buChar char="Ø"/>
            </a:pPr>
            <a:endParaRPr lang="el-GR" sz="2400" b="1" dirty="0" smtClean="0">
              <a:latin typeface="Arial" pitchFamily="34" charset="0"/>
              <a:cs typeface="Arial" pitchFamily="34" charset="0"/>
            </a:endParaRPr>
          </a:p>
          <a:p>
            <a:pPr marL="342900" indent="-342900" algn="just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4,9 δις € από </a:t>
            </a:r>
            <a:r>
              <a:rPr lang="el-GR" sz="2400" b="1" dirty="0" err="1" smtClean="0">
                <a:latin typeface="Arial" pitchFamily="34" charset="0"/>
                <a:cs typeface="Arial" pitchFamily="34" charset="0"/>
              </a:rPr>
              <a:t>εμπροσθοβαρείς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 δράσεις νέου ΕΣΠΑ</a:t>
            </a:r>
          </a:p>
          <a:p>
            <a:pPr marL="342900" indent="-342900" algn="just" eaLnBrk="1" hangingPunct="1">
              <a:lnSpc>
                <a:spcPct val="90000"/>
              </a:lnSpc>
              <a:buFont typeface="Wingdings" pitchFamily="2" charset="2"/>
              <a:buChar char="Ø"/>
            </a:pPr>
            <a:endParaRPr lang="el-GR" sz="2400" b="1" dirty="0" smtClean="0">
              <a:latin typeface="Arial" pitchFamily="34" charset="0"/>
              <a:cs typeface="Arial" pitchFamily="34" charset="0"/>
            </a:endParaRPr>
          </a:p>
          <a:p>
            <a:pPr marL="342900" indent="-342900" algn="just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2,9 δις € από έργα </a:t>
            </a:r>
            <a:r>
              <a:rPr lang="en-US" sz="2400" b="1" dirty="0" smtClean="0">
                <a:latin typeface="Arial" pitchFamily="34" charset="0"/>
                <a:cs typeface="Arial" pitchFamily="34" charset="0"/>
              </a:rPr>
              <a:t>phasing </a:t>
            </a:r>
            <a:r>
              <a:rPr lang="el-GR" sz="2400" b="1" dirty="0" smtClean="0">
                <a:latin typeface="Arial" pitchFamily="34" charset="0"/>
                <a:cs typeface="Arial" pitchFamily="34" charset="0"/>
              </a:rPr>
              <a:t>στο νέο ΕΣΠΑ </a:t>
            </a:r>
            <a:endParaRPr lang="el-GR" sz="2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el-GR" sz="2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Τίτλος 1"/>
          <p:cNvSpPr>
            <a:spLocks/>
          </p:cNvSpPr>
          <p:nvPr/>
        </p:nvSpPr>
        <p:spPr bwMode="auto">
          <a:xfrm>
            <a:off x="142844" y="357166"/>
            <a:ext cx="8543956" cy="911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l-GR" sz="32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l-GR" sz="3200" b="1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Εμπροσθοβαρή</a:t>
            </a:r>
            <a:r>
              <a:rPr lang="el-GR" sz="32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» έργα </a:t>
            </a:r>
            <a:r>
              <a:rPr lang="el-GR" sz="3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/ Τι περιλαμβάνουν   </a:t>
            </a:r>
            <a:endParaRPr lang="el-GR" sz="30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578" name="Θέση περιεχομένου 2"/>
          <p:cNvSpPr txBox="1">
            <a:spLocks/>
          </p:cNvSpPr>
          <p:nvPr/>
        </p:nvSpPr>
        <p:spPr bwMode="auto">
          <a:xfrm>
            <a:off x="457200" y="1357298"/>
            <a:ext cx="8229600" cy="4879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just">
              <a:buFont typeface="+mj-lt"/>
              <a:buAutoNum type="arabicPeriod"/>
            </a:pPr>
            <a:r>
              <a:rPr lang="el-GR" sz="2200" dirty="0">
                <a:latin typeface="Arial" pitchFamily="34" charset="0"/>
                <a:cs typeface="Arial" pitchFamily="34" charset="0"/>
              </a:rPr>
              <a:t>Έργα που </a:t>
            </a:r>
            <a:r>
              <a:rPr lang="el-GR" sz="2200" u="sng" dirty="0">
                <a:latin typeface="Arial" pitchFamily="34" charset="0"/>
                <a:cs typeface="Arial" pitchFamily="34" charset="0"/>
              </a:rPr>
              <a:t>εντάχθηκαν</a:t>
            </a:r>
            <a:r>
              <a:rPr lang="el-GR" sz="2200" dirty="0">
                <a:latin typeface="Arial" pitchFamily="34" charset="0"/>
                <a:cs typeface="Arial" pitchFamily="34" charset="0"/>
              </a:rPr>
              <a:t> στα Ε.Π. του ΕΣΠΑ 2007-2013, αλλά εξαιτίας έλλειψης χρόνου ή/και διαθέσιμων πόρων δεν μπορούσαν να χρηματοδοτηθούν από τα Ε.Π. του ΕΣΠΑ 2007-2013 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και </a:t>
            </a:r>
            <a:r>
              <a:rPr lang="el-GR" sz="2200" u="sng" dirty="0" smtClean="0">
                <a:latin typeface="Arial" pitchFamily="34" charset="0"/>
                <a:cs typeface="Arial" pitchFamily="34" charset="0"/>
              </a:rPr>
              <a:t>είναι επιλέξιμα </a:t>
            </a:r>
            <a:r>
              <a:rPr lang="el-GR" sz="2200" u="sng" dirty="0">
                <a:latin typeface="Arial" pitchFamily="34" charset="0"/>
                <a:cs typeface="Arial" pitchFamily="34" charset="0"/>
              </a:rPr>
              <a:t>στην περίοδο 2014-20</a:t>
            </a:r>
            <a:r>
              <a:rPr lang="en-US" sz="2200" u="sng" dirty="0" smtClean="0">
                <a:latin typeface="Arial" pitchFamily="34" charset="0"/>
                <a:cs typeface="Arial" pitchFamily="34" charset="0"/>
              </a:rPr>
              <a:t>20</a:t>
            </a:r>
            <a:endParaRPr lang="el-GR" sz="2200" u="sng" dirty="0" smtClean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endParaRPr lang="el-GR" sz="2200" u="sng" dirty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l-GR" sz="2200" dirty="0">
                <a:latin typeface="Arial" pitchFamily="34" charset="0"/>
                <a:cs typeface="Arial" pitchFamily="34" charset="0"/>
              </a:rPr>
              <a:t>Έργα που </a:t>
            </a:r>
            <a:r>
              <a:rPr lang="el-GR" sz="2200" u="sng" dirty="0">
                <a:latin typeface="Arial" pitchFamily="34" charset="0"/>
                <a:cs typeface="Arial" pitchFamily="34" charset="0"/>
              </a:rPr>
              <a:t>υποβλήθηκαν</a:t>
            </a:r>
            <a:r>
              <a:rPr lang="el-GR" sz="2200" dirty="0">
                <a:latin typeface="Arial" pitchFamily="34" charset="0"/>
                <a:cs typeface="Arial" pitchFamily="34" charset="0"/>
              </a:rPr>
              <a:t> στο πλαίσιο δημοσίευσης προσκλήσεων των Ε.Π. του ΕΣΠΑ 2007-2013, οι οποίες εξαιτίας έλλειψης διαθέσιμων πόρων, ή/και μη επάρκειας του </a:t>
            </a:r>
            <a:r>
              <a:rPr lang="el-GR" sz="2200" dirty="0" err="1">
                <a:latin typeface="Arial" pitchFamily="34" charset="0"/>
                <a:cs typeface="Arial" pitchFamily="34" charset="0"/>
              </a:rPr>
              <a:t>εναπομείνοντος</a:t>
            </a:r>
            <a:r>
              <a:rPr lang="el-GR" sz="2200" dirty="0">
                <a:latin typeface="Arial" pitchFamily="34" charset="0"/>
                <a:cs typeface="Arial" pitchFamily="34" charset="0"/>
              </a:rPr>
              <a:t> χρόνου δεν εντάχθηκαν στα Ε.Π. του ΕΣΠΑ 2007-2013 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και </a:t>
            </a:r>
            <a:r>
              <a:rPr lang="el-GR" sz="2200" u="sng" dirty="0" smtClean="0">
                <a:latin typeface="Arial" pitchFamily="34" charset="0"/>
                <a:cs typeface="Arial" pitchFamily="34" charset="0"/>
              </a:rPr>
              <a:t>είναι επιλέξιμα </a:t>
            </a:r>
            <a:r>
              <a:rPr lang="el-GR" sz="2200" u="sng" dirty="0">
                <a:latin typeface="Arial" pitchFamily="34" charset="0"/>
                <a:cs typeface="Arial" pitchFamily="34" charset="0"/>
              </a:rPr>
              <a:t>στην περίοδο 2014-20</a:t>
            </a:r>
            <a:r>
              <a:rPr lang="en-US" sz="2200" u="sng" dirty="0" smtClean="0">
                <a:latin typeface="Arial" pitchFamily="34" charset="0"/>
                <a:cs typeface="Arial" pitchFamily="34" charset="0"/>
              </a:rPr>
              <a:t>20</a:t>
            </a:r>
            <a:endParaRPr lang="el-GR" sz="2200" u="sng" dirty="0" smtClean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endParaRPr lang="el-GR" sz="2200" u="sng" dirty="0">
              <a:latin typeface="Arial" pitchFamily="34" charset="0"/>
              <a:cs typeface="Arial" pitchFamily="34" charset="0"/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el-GR" sz="2200" dirty="0">
                <a:latin typeface="Arial" pitchFamily="34" charset="0"/>
                <a:cs typeface="Arial" pitchFamily="34" charset="0"/>
              </a:rPr>
              <a:t>Νέα έργα επιλέξιμα στην περίοδο 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2014-2020</a:t>
            </a:r>
            <a:endParaRPr lang="el-GR" sz="2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8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Τίτλος 1"/>
          <p:cNvSpPr>
            <a:spLocks/>
          </p:cNvSpPr>
          <p:nvPr/>
        </p:nvSpPr>
        <p:spPr bwMode="auto">
          <a:xfrm>
            <a:off x="357158" y="500042"/>
            <a:ext cx="8329642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l-GR" sz="3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l-GR" sz="3400" b="1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Εμπροσθοβαρή</a:t>
            </a:r>
            <a:r>
              <a:rPr lang="el-GR" sz="3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» έργα </a:t>
            </a:r>
            <a:r>
              <a:rPr lang="el-GR" sz="32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/ Οφέλη </a:t>
            </a:r>
            <a:endParaRPr lang="el-GR" sz="32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578" name="Θέση περιεχομένου 2"/>
          <p:cNvSpPr txBox="1">
            <a:spLocks/>
          </p:cNvSpPr>
          <p:nvPr/>
        </p:nvSpPr>
        <p:spPr bwMode="auto">
          <a:xfrm>
            <a:off x="428596" y="1571612"/>
            <a:ext cx="8229600" cy="4237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marL="457200" indent="-457200" algn="just" eaLnBrk="1" hangingPunct="1">
              <a:lnSpc>
                <a:spcPct val="8000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Η υλοποίηση των έργων αποσυνδέεται από διαδικαστικούς περιορισμούς της Ε.Ε.</a:t>
            </a:r>
          </a:p>
          <a:p>
            <a:pPr marL="457200" indent="-457200" algn="just" eaLnBrk="1" hangingPunct="1">
              <a:lnSpc>
                <a:spcPct val="80000"/>
              </a:lnSpc>
            </a:pPr>
            <a:endParaRPr lang="el-GR" sz="2200" dirty="0" smtClean="0">
              <a:latin typeface="Arial" pitchFamily="34" charset="0"/>
              <a:cs typeface="Arial" pitchFamily="34" charset="0"/>
            </a:endParaRPr>
          </a:p>
          <a:p>
            <a:pPr marL="895350" lvl="1" indent="-438150" algn="just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Οριστική έγκριση των Ε.Π. </a:t>
            </a:r>
          </a:p>
          <a:p>
            <a:pPr marL="895350" lvl="1" indent="-438150" algn="just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Έγκριση του Συστήματος Διαχείρισης και Ελέγχου </a:t>
            </a:r>
          </a:p>
          <a:p>
            <a:pPr marL="895350" lvl="1" indent="-438150" algn="just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Σύσταση και στελέχωση των Φορέων Διαχείρισης</a:t>
            </a:r>
          </a:p>
          <a:p>
            <a:pPr marL="895350" lvl="1" indent="-438150" algn="just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Δημοσίευση προσκλήσεων στο πλαίσιο των νέων Ε.Π.</a:t>
            </a:r>
          </a:p>
          <a:p>
            <a:pPr marL="895350" lvl="1" indent="-438150" algn="just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Υποβολή, αξιολόγηση, έγκριση και ένταξη των έργων στο πλαίσιο των νέων Ε.Π.</a:t>
            </a:r>
          </a:p>
          <a:p>
            <a:pPr marL="266700" indent="-266700" algn="just" eaLnBrk="1" hangingPunct="1">
              <a:lnSpc>
                <a:spcPct val="80000"/>
              </a:lnSpc>
              <a:buClr>
                <a:schemeClr val="tx1"/>
              </a:buClr>
              <a:buFont typeface="Wingdings" pitchFamily="2" charset="2"/>
              <a:buChar char="ü"/>
            </a:pPr>
            <a:endParaRPr lang="el-GR" sz="2200" dirty="0" smtClean="0">
              <a:latin typeface="Arial" pitchFamily="34" charset="0"/>
              <a:cs typeface="Arial" pitchFamily="34" charset="0"/>
            </a:endParaRPr>
          </a:p>
          <a:p>
            <a:pPr marL="457200" indent="-457200" algn="just" eaLnBrk="1" hangingPunct="1">
              <a:lnSpc>
                <a:spcPct val="80000"/>
              </a:lnSpc>
              <a:buClr>
                <a:schemeClr val="tx2"/>
              </a:buClr>
              <a:buFont typeface="Wingdings" pitchFamily="2" charset="2"/>
              <a:buChar char="Ø"/>
            </a:pPr>
            <a:r>
              <a:rPr lang="el-GR" sz="2200" dirty="0" smtClean="0">
                <a:latin typeface="Arial" pitchFamily="34" charset="0"/>
                <a:cs typeface="Arial" pitchFamily="34" charset="0"/>
              </a:rPr>
              <a:t>Διασφαλίζεται η </a:t>
            </a:r>
            <a:r>
              <a:rPr lang="el-GR" sz="2200" b="1" dirty="0" smtClean="0">
                <a:latin typeface="Arial" pitchFamily="34" charset="0"/>
                <a:cs typeface="Arial" pitchFamily="34" charset="0"/>
              </a:rPr>
              <a:t>διαρκής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l-GR" sz="2200" b="1" dirty="0" smtClean="0">
                <a:latin typeface="Arial" pitchFamily="34" charset="0"/>
                <a:cs typeface="Arial" pitchFamily="34" charset="0"/>
              </a:rPr>
              <a:t>ομαλή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 και </a:t>
            </a:r>
            <a:r>
              <a:rPr lang="el-GR" sz="2200" b="1" dirty="0" smtClean="0">
                <a:latin typeface="Arial" pitchFamily="34" charset="0"/>
                <a:cs typeface="Arial" pitchFamily="34" charset="0"/>
              </a:rPr>
              <a:t>απρόσκοπτη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l-GR" sz="2200" b="1" dirty="0" smtClean="0">
                <a:latin typeface="Arial" pitchFamily="34" charset="0"/>
                <a:cs typeface="Arial" pitchFamily="34" charset="0"/>
              </a:rPr>
              <a:t>χρηματοδότηση των έργων </a:t>
            </a:r>
            <a:r>
              <a:rPr lang="el-GR" sz="2200" dirty="0" smtClean="0">
                <a:latin typeface="Arial" pitchFamily="34" charset="0"/>
                <a:cs typeface="Arial" pitchFamily="34" charset="0"/>
              </a:rPr>
              <a:t>στη μεταβατική περίοδο από την τρέχουσα στη νέα Προγραμματική Περίοδο.</a:t>
            </a:r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E56944-894C-49F6-BC20-DDC4CEB814A0}" type="slidenum">
              <a:rPr lang="el-GR" smtClean="0"/>
              <a:pPr>
                <a:defRPr/>
              </a:pPr>
              <a:t>9</a:t>
            </a:fld>
            <a:endParaRPr lang="el-GR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SZiJc_2Eq3DMipVwK9D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Αστικ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Αστικό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Αστικό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rban</Template>
  <TotalTime>768</TotalTime>
  <Words>786</Words>
  <Application>Microsoft Office PowerPoint</Application>
  <PresentationFormat>Προβολή στην οθόνη (4:3)</PresentationFormat>
  <Paragraphs>340</Paragraphs>
  <Slides>14</Slides>
  <Notes>0</Notes>
  <HiddenSlides>0</HiddenSlides>
  <MMClips>0</MMClips>
  <ScaleCrop>false</ScaleCrop>
  <HeadingPairs>
    <vt:vector size="4" baseType="variant">
      <vt:variant>
        <vt:lpstr>Θέμα</vt:lpstr>
      </vt:variant>
      <vt:variant>
        <vt:i4>1</vt:i4>
      </vt:variant>
      <vt:variant>
        <vt:lpstr>Τίτλοι διαφανειών</vt:lpstr>
      </vt:variant>
      <vt:variant>
        <vt:i4>14</vt:i4>
      </vt:variant>
    </vt:vector>
  </HeadingPairs>
  <TitlesOfParts>
    <vt:vector size="15" baseType="lpstr">
      <vt:lpstr>Αστικό</vt:lpstr>
      <vt:lpstr>ΥΠΟΥΡΓΕΙΟ ΑΝΑΠΤΥΞΗΣ ΚΑΙ ΑΝΤΑΓΩΝΙΣΤΙΚΟΤΗΤΑΣ</vt:lpstr>
      <vt:lpstr>Διαφάνεια 2</vt:lpstr>
      <vt:lpstr>ΕΣΠΑ 2007-2013</vt:lpstr>
      <vt:lpstr>Νέο ΕΣΠΑ 2014-2020</vt:lpstr>
      <vt:lpstr>Νέο ΕΣΠΑ 2014-2020</vt:lpstr>
      <vt:lpstr>Νέο ΕΣΠΑ 2014-2020 / Εμπροσθοβαρείς δράσεις</vt:lpstr>
      <vt:lpstr>Συμβολή στην Ελληνική Οικονομία</vt:lpstr>
      <vt:lpstr>Διαφάνεια 8</vt:lpstr>
      <vt:lpstr>Διαφάνεια 9</vt:lpstr>
      <vt:lpstr>Κατηγορίες Εμπροσθοβαρών Δράσεων (1)</vt:lpstr>
      <vt:lpstr>Διαφάνεια 11</vt:lpstr>
      <vt:lpstr>Παράρτημα</vt:lpstr>
      <vt:lpstr>ΣΤΟΙΧΕΙΑ ΑΠΟΡΡΟΦΗΣΗΣ ΕΣΠΑ 2007-2013 </vt:lpstr>
      <vt:lpstr>ΣΤΟΙΧΕΙΑ ΑΠΟΡΡΟΦΗΣΗΣ ΕΣΠΑ 2007-2013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 Ιουνίου – 6 Σεπτεμβρίου:   4 μήνες ΕΣΠΑ</dc:title>
  <dc:creator>MODUSER</dc:creator>
  <cp:lastModifiedBy>d.perdikis</cp:lastModifiedBy>
  <cp:revision>90</cp:revision>
  <cp:lastPrinted>2014-10-13T18:44:16Z</cp:lastPrinted>
  <dcterms:created xsi:type="dcterms:W3CDTF">2014-10-03T16:35:48Z</dcterms:created>
  <dcterms:modified xsi:type="dcterms:W3CDTF">2014-10-15T14:14:32Z</dcterms:modified>
</cp:coreProperties>
</file>